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11" r:id="rId2"/>
    <p:sldId id="431" r:id="rId3"/>
    <p:sldId id="430" r:id="rId4"/>
    <p:sldId id="429" r:id="rId5"/>
    <p:sldId id="310" r:id="rId6"/>
  </p:sldIdLst>
  <p:sldSz cx="9144000" cy="6858000" type="screen4x3"/>
  <p:notesSz cx="6797675" cy="9926638"/>
  <p:custDataLst>
    <p:tags r:id="rId9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2C4A746-1FC1-482D-8181-39FEF2C4A909}">
          <p14:sldIdLst>
            <p14:sldId id="311"/>
          </p14:sldIdLst>
        </p14:section>
        <p14:section name="Content Slides" id="{87938154-2A90-4851-B867-8B27CC9FE3B0}">
          <p14:sldIdLst>
            <p14:sldId id="431"/>
            <p14:sldId id="430"/>
            <p14:sldId id="429"/>
          </p14:sldIdLst>
        </p14:section>
        <p14:section name="Example Slides" id="{27FB5AE8-D492-47B3-A3DB-4EA89BEDE3C0}">
          <p14:sldIdLst/>
        </p14:section>
        <p14:section name="Final Slides" id="{B8425838-4BEB-40DD-B72A-BF45ED5EE149}">
          <p14:sldIdLst>
            <p14:sldId id="310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4218">
          <p15:clr>
            <a:srgbClr val="A4A3A4"/>
          </p15:clr>
        </p15:guide>
        <p15:guide id="2" orient="horz" pos="857">
          <p15:clr>
            <a:srgbClr val="A4A3A4"/>
          </p15:clr>
        </p15:guide>
        <p15:guide id="3" orient="horz" pos="3940">
          <p15:clr>
            <a:srgbClr val="A4A3A4"/>
          </p15:clr>
        </p15:guide>
        <p15:guide id="4" orient="horz">
          <p15:clr>
            <a:srgbClr val="A4A3A4"/>
          </p15:clr>
        </p15:guide>
        <p15:guide id="5" pos="2883">
          <p15:clr>
            <a:srgbClr val="A4A3A4"/>
          </p15:clr>
        </p15:guide>
        <p15:guide id="6" pos="230">
          <p15:clr>
            <a:srgbClr val="A4A3A4"/>
          </p15:clr>
        </p15:guide>
        <p15:guide id="7" pos="55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8585A"/>
    <a:srgbClr val="ABCB54"/>
    <a:srgbClr val="8FB91C"/>
    <a:srgbClr val="C1D8C2"/>
    <a:srgbClr val="FFFFFF"/>
    <a:srgbClr val="F2F0E7"/>
    <a:srgbClr val="EFF3CF"/>
    <a:srgbClr val="E5E0D0"/>
    <a:srgbClr val="BBD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62" autoAdjust="0"/>
    <p:restoredTop sz="69835" autoAdjust="0"/>
  </p:normalViewPr>
  <p:slideViewPr>
    <p:cSldViewPr snapToGrid="0">
      <p:cViewPr varScale="1">
        <p:scale>
          <a:sx n="134" d="100"/>
          <a:sy n="134" d="100"/>
        </p:scale>
        <p:origin x="-954" y="-78"/>
      </p:cViewPr>
      <p:guideLst>
        <p:guide orient="horz" pos="4218"/>
        <p:guide orient="horz" pos="857"/>
        <p:guide orient="horz" pos="3940"/>
        <p:guide orient="horz"/>
        <p:guide orient="horz" pos="3725"/>
        <p:guide pos="2883"/>
        <p:guide pos="230"/>
        <p:guide pos="5529"/>
      </p:guideLst>
    </p:cSldViewPr>
  </p:slideViewPr>
  <p:outlineViewPr>
    <p:cViewPr>
      <p:scale>
        <a:sx n="33" d="100"/>
        <a:sy n="33" d="100"/>
      </p:scale>
      <p:origin x="0" y="53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2952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475FFF9-468F-4A44-94C4-007707C280D2}" type="datetimeFigureOut">
              <a:rPr lang="de-DE" smtClean="0"/>
              <a:t>16.08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905401F5-088A-7444-B95A-A5771689DCF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23413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EF4BE10-A985-CB4A-ADE5-E67BDA02AB25}" type="datetimeFigureOut">
              <a:rPr lang="en-US" smtClean="0"/>
              <a:t>8/16/201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C5A451B0-B4A3-6244-BD97-12275BA1DB8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1068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bildplatzhalter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225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PPT.Titelbild_Motorad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" r="1806"/>
          <a:stretch/>
        </p:blipFill>
        <p:spPr>
          <a:xfrm>
            <a:off x="-1" y="0"/>
            <a:ext cx="9144001" cy="5900738"/>
          </a:xfrm>
          <a:prstGeom prst="rect">
            <a:avLst/>
          </a:prstGeom>
        </p:spPr>
      </p:pic>
      <p:sp>
        <p:nvSpPr>
          <p:cNvPr id="10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3916600"/>
            <a:ext cx="8437431" cy="555020"/>
          </a:xfrm>
          <a:prstGeom prst="rect">
            <a:avLst/>
          </a:prstGeom>
        </p:spPr>
        <p:txBody>
          <a:bodyPr vert="horz" lIns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accent6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br>
              <a:rPr lang="en-US" noProof="0" dirty="0" smtClean="0"/>
            </a:br>
            <a:endParaRPr lang="en-US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966444" y="4475078"/>
            <a:ext cx="5868000" cy="41803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ts val="3000"/>
              </a:lnSpc>
              <a:spcBef>
                <a:spcPts val="0"/>
              </a:spcBef>
              <a:buNone/>
              <a:defRPr sz="2800" b="1" i="0" baseline="0">
                <a:solidFill>
                  <a:schemeClr val="accent6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 of presentation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966444" y="5055433"/>
            <a:ext cx="586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Name, Position</a:t>
            </a:r>
            <a:endParaRPr lang="en-US" noProof="0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966444" y="5416676"/>
            <a:ext cx="5868000" cy="360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Event, Date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10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355829" y="4977963"/>
            <a:ext cx="8478000" cy="19389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eaLnBrk="1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65125" y="5467364"/>
            <a:ext cx="84780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lvl="0" eaLnBrk="1">
              <a:spcBef>
                <a:spcPts val="300"/>
              </a:spcBef>
            </a:pPr>
            <a:endParaRPr lang="en-US" sz="1050" noProof="0" dirty="0" smtClean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1749" y="5206143"/>
            <a:ext cx="8459514" cy="103027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6" name="Rectangle 2"/>
          <p:cNvSpPr/>
          <p:nvPr userDrawn="1"/>
        </p:nvSpPr>
        <p:spPr>
          <a:xfrm>
            <a:off x="0" y="-4049"/>
            <a:ext cx="9144000" cy="180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8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nical Photo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pic>
        <p:nvPicPr>
          <p:cNvPr id="1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219" y="6469200"/>
            <a:ext cx="1020654" cy="221403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96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0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0" y="0"/>
            <a:ext cx="9144000" cy="5897880"/>
          </a:xfrm>
          <a:prstGeom prst="rect">
            <a:avLst/>
          </a:prstGeom>
          <a:solidFill>
            <a:srgbClr val="8F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2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rgbClr val="ABCB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4180190"/>
            <a:ext cx="8442000" cy="555020"/>
          </a:xfrm>
          <a:prstGeom prst="rect">
            <a:avLst/>
          </a:prstGeom>
        </p:spPr>
        <p:txBody>
          <a:bodyPr vert="horz" lIns="0" anchor="ctr" anchorCtr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bg2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19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4386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defRPr/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09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withou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893194" y="1360488"/>
            <a:ext cx="7884094" cy="482685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1360773"/>
            <a:ext cx="437358" cy="482400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893194" y="2000611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5" y="2000611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3194" y="2640734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2640734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893194" y="3280857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3280857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893194" y="3920980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65125" y="3920980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893194" y="4561105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65125" y="4561105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77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360000" y="1360488"/>
            <a:ext cx="8417288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84168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26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with title -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Pro</a:t>
            </a:r>
            <a:endParaRPr lang="en-US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633913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Con</a:t>
            </a:r>
            <a:endParaRPr lang="en-US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quarter" idx="22"/>
          </p:nvPr>
        </p:nvSpPr>
        <p:spPr>
          <a:xfrm>
            <a:off x="4633913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 left,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449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360000" y="1360489"/>
            <a:ext cx="2425403" cy="4894260"/>
          </a:xfrm>
          <a:prstGeom prst="homePlate">
            <a:avLst>
              <a:gd name="adj" fmla="val 19725"/>
            </a:avLst>
          </a:prstGeom>
          <a:solidFill>
            <a:schemeClr val="accent1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2995688" y="1360489"/>
            <a:ext cx="5781600" cy="4894260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7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7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3587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" descr="E:\Büro\Klienten\Klienten_Sonstige\Straumann\Straumann_Logo_no_claim_RGB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753" y="6469034"/>
            <a:ext cx="1012827" cy="21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360000" y="1159619"/>
            <a:ext cx="8413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fld id="{1A6AB51D-6EB0-4E57-9FF1-82A28F807C3B}" type="slidenum">
              <a:rPr lang="en-US" noProof="1" smtClean="0"/>
              <a:pPr/>
              <a:t>‹Nr.›</a:t>
            </a:fld>
            <a:endParaRPr lang="en-US" noProof="1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52800" y="6696000"/>
            <a:ext cx="3052800" cy="162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800" i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59999" y="1360488"/>
            <a:ext cx="8418783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2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52" r:id="rId2"/>
    <p:sldLayoutId id="2147483694" r:id="rId3"/>
    <p:sldLayoutId id="2147483722" r:id="rId4"/>
    <p:sldLayoutId id="2147483728" r:id="rId5"/>
    <p:sldLayoutId id="2147483753" r:id="rId6"/>
    <p:sldLayoutId id="2147483726" r:id="rId7"/>
    <p:sldLayoutId id="2147483729" r:id="rId8"/>
    <p:sldLayoutId id="2147483721" r:id="rId9"/>
    <p:sldLayoutId id="2147483720" r:id="rId10"/>
    <p:sldLayoutId id="214748375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457200" rtl="0" eaLnBrk="1" latinLnBrk="0" hangingPunct="1">
        <a:lnSpc>
          <a:spcPct val="120000"/>
        </a:lnSpc>
        <a:spcBef>
          <a:spcPts val="60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20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1pPr>
      <a:lvl2pPr marL="539750" indent="-2762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2pPr>
      <a:lvl3pPr marL="803275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3pPr>
      <a:lvl4pPr marL="1081088" indent="-277813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4pPr>
      <a:lvl5pPr marL="1344613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kern="1200" baseline="0" smtClean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LT </a:t>
            </a:r>
            <a:r>
              <a:rPr lang="en-US" dirty="0" err="1" smtClean="0"/>
              <a:t>Einpatientenbohrersets</a:t>
            </a:r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Informationen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 smtClean="0"/>
              <a:t>Produktmanagement</a:t>
            </a:r>
            <a:r>
              <a:rPr lang="en-US" dirty="0" smtClean="0"/>
              <a:t> </a:t>
            </a:r>
            <a:r>
              <a:rPr lang="en-US" dirty="0" err="1" smtClean="0"/>
              <a:t>Implantologi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August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T </a:t>
            </a:r>
            <a:r>
              <a:rPr lang="en-US" dirty="0" err="1" smtClean="0"/>
              <a:t>Einpatientenbohrerse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>
                <a:solidFill>
                  <a:schemeClr val="accent1"/>
                </a:solidFill>
              </a:rPr>
              <a:t>Eigenschafte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Die BLT </a:t>
            </a:r>
            <a:r>
              <a:rPr lang="en-US" dirty="0" err="1" smtClean="0"/>
              <a:t>Einpatientenb</a:t>
            </a:r>
            <a:r>
              <a:rPr lang="de-DE" dirty="0" err="1" smtClean="0"/>
              <a:t>ohrsets</a:t>
            </a:r>
            <a:r>
              <a:rPr lang="de-DE" dirty="0" smtClean="0"/>
              <a:t>, </a:t>
            </a:r>
          </a:p>
          <a:p>
            <a:r>
              <a:rPr lang="de-DE" dirty="0" smtClean="0"/>
              <a:t>sind für folgende BLT </a:t>
            </a:r>
            <a:r>
              <a:rPr lang="de-DE" dirty="0" err="1" smtClean="0"/>
              <a:t>Implantatdurchmesser</a:t>
            </a:r>
            <a:r>
              <a:rPr lang="de-DE" dirty="0" smtClean="0"/>
              <a:t> verfügbar:</a:t>
            </a:r>
          </a:p>
          <a:p>
            <a:pPr lvl="1"/>
            <a:r>
              <a:rPr lang="de-DE" dirty="0" smtClean="0"/>
              <a:t>Ø3,3mm</a:t>
            </a:r>
          </a:p>
          <a:p>
            <a:pPr lvl="1"/>
            <a:r>
              <a:rPr lang="de-DE" dirty="0" smtClean="0"/>
              <a:t>Ø4,1mm</a:t>
            </a:r>
          </a:p>
          <a:p>
            <a:pPr lvl="1"/>
            <a:r>
              <a:rPr lang="de-DE" dirty="0" smtClean="0"/>
              <a:t>Ø4,8mm</a:t>
            </a:r>
          </a:p>
          <a:p>
            <a:r>
              <a:rPr lang="de-DE" dirty="0"/>
              <a:t>i</a:t>
            </a:r>
            <a:r>
              <a:rPr lang="de-DE" dirty="0" smtClean="0"/>
              <a:t>n kurzer und langer Version verfügbar</a:t>
            </a:r>
          </a:p>
          <a:p>
            <a:r>
              <a:rPr lang="de-DE" dirty="0"/>
              <a:t>s</a:t>
            </a:r>
            <a:r>
              <a:rPr lang="de-DE" dirty="0" smtClean="0"/>
              <a:t>ind für den Einmalgebrauch bestimmt und mit dem entsprechend Symbol gekennzeichnet  </a:t>
            </a:r>
          </a:p>
          <a:p>
            <a:r>
              <a:rPr lang="de-DE" dirty="0" smtClean="0"/>
              <a:t>sind nicht Bohrstoppkompatibel</a:t>
            </a:r>
          </a:p>
          <a:p>
            <a:r>
              <a:rPr lang="de-DE" dirty="0"/>
              <a:t>s</a:t>
            </a:r>
            <a:r>
              <a:rPr lang="de-DE" dirty="0" smtClean="0"/>
              <a:t>ind steril verpackt</a:t>
            </a:r>
          </a:p>
          <a:p>
            <a:r>
              <a:rPr lang="de-DE" dirty="0"/>
              <a:t>s</a:t>
            </a:r>
            <a:r>
              <a:rPr lang="de-DE" dirty="0" smtClean="0"/>
              <a:t>ind nicht im </a:t>
            </a:r>
            <a:r>
              <a:rPr lang="de-DE" dirty="0" err="1" smtClean="0"/>
              <a:t>eShop</a:t>
            </a:r>
            <a:r>
              <a:rPr lang="de-DE" dirty="0" smtClean="0"/>
              <a:t> verfügbar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901" y="4284591"/>
            <a:ext cx="352616" cy="35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92675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T </a:t>
            </a:r>
            <a:r>
              <a:rPr lang="en-US" dirty="0" err="1"/>
              <a:t>Einpatientenbohrersets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solidFill>
                  <a:schemeClr val="accent1"/>
                </a:solidFill>
              </a:rPr>
              <a:t>Wie, wo, was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Artikel-Nummern und Preise: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Faxbestellblatt: DE490047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856" y="2054742"/>
            <a:ext cx="6513513" cy="2819400"/>
          </a:xfrm>
          <a:prstGeom prst="rect">
            <a:avLst/>
          </a:prstGeom>
          <a:noFill/>
          <a:ln w="158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02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T </a:t>
            </a:r>
            <a:r>
              <a:rPr lang="en-US" dirty="0" err="1"/>
              <a:t>Einpatientenbohrerse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>
                <a:solidFill>
                  <a:schemeClr val="accent1"/>
                </a:solidFill>
              </a:rPr>
              <a:t>Wie sehen sie aus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669265" y="6591265"/>
            <a:ext cx="6892925" cy="123111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502428" cy="4894262"/>
          </a:xfrm>
        </p:spPr>
        <p:txBody>
          <a:bodyPr/>
          <a:lstStyle/>
          <a:p>
            <a:pPr marL="457200" lvl="1" indent="-457200">
              <a:spcBef>
                <a:spcPts val="600"/>
              </a:spcBef>
            </a:pPr>
            <a:endParaRPr lang="de-DE" dirty="0"/>
          </a:p>
          <a:p>
            <a:pPr lvl="1"/>
            <a:endParaRPr lang="de-DE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327" y="1410580"/>
            <a:ext cx="2692721" cy="1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291" y="1410579"/>
            <a:ext cx="3332519" cy="186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327" y="3973206"/>
            <a:ext cx="2127003" cy="1963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2023" y="3973206"/>
            <a:ext cx="2091775" cy="1963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4984" y="3973207"/>
            <a:ext cx="1818970" cy="1963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2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817" y="4607306"/>
            <a:ext cx="354013" cy="347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Gerade Verbindung mit Pfeil 6"/>
          <p:cNvCxnSpPr/>
          <p:nvPr/>
        </p:nvCxnSpPr>
        <p:spPr>
          <a:xfrm flipH="1">
            <a:off x="7896462" y="4774049"/>
            <a:ext cx="368003" cy="0"/>
          </a:xfrm>
          <a:prstGeom prst="straightConnector1">
            <a:avLst/>
          </a:prstGeom>
          <a:ln w="19050">
            <a:solidFill>
              <a:srgbClr val="0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803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International Headquarter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smtClean="0"/>
              <a:t>Institut Straumann AG</a:t>
            </a:r>
          </a:p>
          <a:p>
            <a:pPr lvl="0"/>
            <a:r>
              <a:rPr lang="en-US" dirty="0" smtClean="0"/>
              <a:t>Peter Merian-Weg 12</a:t>
            </a:r>
          </a:p>
          <a:p>
            <a:pPr lvl="0"/>
            <a:r>
              <a:rPr lang="en-US" dirty="0" smtClean="0"/>
              <a:t>CH-4002 Basel, Switzerland</a:t>
            </a:r>
            <a:br>
              <a:rPr lang="en-US" dirty="0" smtClean="0"/>
            </a:br>
            <a:r>
              <a:rPr lang="en-US" dirty="0" smtClean="0"/>
              <a:t>Phone +41(0)61 965 11 11</a:t>
            </a:r>
          </a:p>
          <a:p>
            <a:pPr lvl="0"/>
            <a:r>
              <a:rPr lang="en-US" dirty="0" smtClean="0"/>
              <a:t>Fax     +41(0)61 965 10 01</a:t>
            </a:r>
          </a:p>
          <a:p>
            <a:pPr lvl="0"/>
            <a:r>
              <a:rPr lang="en-US" dirty="0" smtClean="0"/>
              <a:t>www.straumann.co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084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M_PowerPoint_4-3">
  <a:themeElements>
    <a:clrScheme name="Straumann_Juni">
      <a:dk1>
        <a:srgbClr val="58585A"/>
      </a:dk1>
      <a:lt1>
        <a:srgbClr val="FFFFFF"/>
      </a:lt1>
      <a:dk2>
        <a:srgbClr val="FFFFFF"/>
      </a:dk2>
      <a:lt2>
        <a:srgbClr val="58585A"/>
      </a:lt2>
      <a:accent1>
        <a:srgbClr val="8FB91C"/>
      </a:accent1>
      <a:accent2>
        <a:srgbClr val="585857"/>
      </a:accent2>
      <a:accent3>
        <a:srgbClr val="878787"/>
      </a:accent3>
      <a:accent4>
        <a:srgbClr val="B1B2B3"/>
      </a:accent4>
      <a:accent5>
        <a:srgbClr val="D9D9DA"/>
      </a:accent5>
      <a:accent6>
        <a:srgbClr val="1E7539"/>
      </a:accent6>
      <a:hlink>
        <a:srgbClr val="217934"/>
      </a:hlink>
      <a:folHlink>
        <a:srgbClr val="87888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2000" dirty="0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M_PowerPoint_4-3</Template>
  <TotalTime>0</TotalTime>
  <Words>86</Words>
  <Application>Microsoft Office PowerPoint</Application>
  <PresentationFormat>Bildschirmpräsentation (4:3)</PresentationFormat>
  <Paragraphs>40</Paragraphs>
  <Slides>5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7" baseType="lpstr">
      <vt:lpstr>STRM_PowerPoint_4-3</vt:lpstr>
      <vt:lpstr>think-cell Folie</vt:lpstr>
      <vt:lpstr>BLT Einpatientenbohrersets</vt:lpstr>
      <vt:lpstr>BLT Einpatientenbohrersets Eigenschaften</vt:lpstr>
      <vt:lpstr>BLT Einpatientenbohrersets Wie, wo, was?</vt:lpstr>
      <vt:lpstr>BLT Einpatientenbohrersets Wie sehen sie aus?</vt:lpstr>
      <vt:lpstr>PowerPoint-Präsentation</vt:lpstr>
    </vt:vector>
  </TitlesOfParts>
  <Company>Institut Strauman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rlage Pre Reads</dc:title>
  <dc:creator>Manuela Gallus</dc:creator>
  <cp:lastModifiedBy>Bernd Hansen</cp:lastModifiedBy>
  <cp:revision>135</cp:revision>
  <cp:lastPrinted>2015-05-21T11:17:03Z</cp:lastPrinted>
  <dcterms:created xsi:type="dcterms:W3CDTF">2016-07-19T09:44:36Z</dcterms:created>
  <dcterms:modified xsi:type="dcterms:W3CDTF">2016-08-16T14:21:59Z</dcterms:modified>
</cp:coreProperties>
</file>